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96622" autoAdjust="0"/>
  </p:normalViewPr>
  <p:slideViewPr>
    <p:cSldViewPr snapToGrid="0">
      <p:cViewPr varScale="1">
        <p:scale>
          <a:sx n="117" d="100"/>
          <a:sy n="117" d="100"/>
        </p:scale>
        <p:origin x="2054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28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3978562" y="3467968"/>
            <a:ext cx="632737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	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1 !=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2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  		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ma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use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o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n’t you write longer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298035" y="4497134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15468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Procedure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en-CH" sz="1800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Online Eval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272499" y="2976568"/>
            <a:ext cx="1462259" cy="974355"/>
            <a:chOff x="1190547" y="2293601"/>
            <a:chExt cx="1096694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190547" y="2678118"/>
              <a:ext cx="10966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639034" y="577424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40</Words>
  <Application>Microsoft Office PowerPoint</Application>
  <PresentationFormat>Widescreen</PresentationFormat>
  <Paragraphs>504</Paragraphs>
  <Slides>57</Slides>
  <Notes>4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cture</vt:lpstr>
      <vt:lpstr>System Architec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cture: Online Eval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50</cp:revision>
  <dcterms:created xsi:type="dcterms:W3CDTF">2019-10-15T07:31:09Z</dcterms:created>
  <dcterms:modified xsi:type="dcterms:W3CDTF">2024-08-28T15:12:09Z</dcterms:modified>
</cp:coreProperties>
</file>